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3814" autoAdjust="0"/>
    <p:restoredTop sz="94660"/>
  </p:normalViewPr>
  <p:slideViewPr>
    <p:cSldViewPr snapToGrid="0">
      <p:cViewPr varScale="1">
        <p:scale>
          <a:sx n="45" d="100"/>
          <a:sy n="45" d="100"/>
        </p:scale>
        <p:origin x="72" y="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5F6D2B90-59AC-4312-A305-A6973559A963}"/>
    <pc:docChg chg="undo custSel modSld">
      <pc:chgData name="Rosa, Crystal" userId="fb74c9b1-33bd-4af2-8565-ea2bdc65fe6b" providerId="ADAL" clId="{5F6D2B90-59AC-4312-A305-A6973559A963}" dt="2023-07-13T19:44:47.587" v="29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3T19:44:47.587" v="29"/>
        <pc:sldMkLst>
          <pc:docMk/>
          <pc:sldMk cId="343359655" sldId="300"/>
        </pc:sldMkLst>
        <pc:spChg chg="mod">
          <ac:chgData name="Rosa, Crystal" userId="fb74c9b1-33bd-4af2-8565-ea2bdc65fe6b" providerId="ADAL" clId="{5F6D2B90-59AC-4312-A305-A6973559A963}" dt="2023-07-13T19:44:47.587" v="29"/>
          <ac:spMkLst>
            <pc:docMk/>
            <pc:sldMk cId="343359655" sldId="300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7C-467A-95ED-B72AD17F99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37C-467A-95ED-B72AD17F99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37C-467A-95ED-B72AD17F996E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7C-467A-95ED-B72AD17F996E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37C-467A-95ED-B72AD17F996E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37C-467A-95ED-B72AD17F9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7C-467A-95ED-B72AD17F9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AA5E28-2DC2-4B5D-8F41-F6333A75859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0">
              <a:latin typeface="Arial" panose="020B0604020202020204" pitchFamily="34" charset="0"/>
              <a:cs typeface="Arial" panose="020B0604020202020204" pitchFamily="34" charset="0"/>
            </a:rPr>
            <a:t>You will join the meeting with video and microphone off</a:t>
          </a:r>
        </a:p>
      </dgm:t>
    </dgm:pt>
    <dgm:pt modelId="{95D52A93-C507-49F7-B5AD-A018D3675E6E}" type="parTrans" cxnId="{ABBC5DE8-0653-4196-B4E6-9B44ED9A56C1}">
      <dgm:prSet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0381F6-8F65-45E6-834C-2BFFFDA34B52}" type="sibTrans" cxnId="{ABBC5DE8-0653-4196-B4E6-9B44ED9A56C1}">
      <dgm:prSet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0">
              <a:latin typeface="Arial" panose="020B0604020202020204" pitchFamily="34" charset="0"/>
              <a:cs typeface="Arial" panose="020B0604020202020204" pitchFamily="34" charset="0"/>
            </a:rPr>
            <a:t>You can type written questions or comments in the Zoom Q&amp;A Panel</a:t>
          </a:r>
        </a:p>
      </dgm:t>
    </dgm:pt>
    <dgm:pt modelId="{7F0419C9-5227-4483-9FFF-F50F7AABB817}" type="parTrans" cxnId="{5EDC1C40-6C83-4D53-8A9C-80BCAF69E48F}">
      <dgm:prSet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6BC1EE2-6297-4F68-9F23-E980040404AF}" type="sibTrans" cxnId="{5EDC1C40-6C83-4D53-8A9C-80BCAF69E48F}">
      <dgm:prSet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5EDC1C40-6C83-4D53-8A9C-80BCAF69E48F}" srcId="{4F4A099B-3F3B-4D64-B644-8A93D3D2F41B}" destId="{2AB3197D-3839-4BA2-A797-8FE2069BC1A3}" srcOrd="1" destOrd="0" parTransId="{7F0419C9-5227-4483-9FFF-F50F7AABB817}" sibTransId="{C6BC1EE2-6297-4F68-9F23-E980040404AF}"/>
    <dgm:cxn modelId="{B73F746E-0C95-4373-8018-C6F6CF512BC3}" type="presOf" srcId="{60AA5E28-2DC2-4B5D-8F41-F6333A758590}" destId="{13F8F3C7-A9EB-4CC0-B17F-94578B3204DE}" srcOrd="0" destOrd="0" presId="urn:microsoft.com/office/officeart/2018/2/layout/IconCircleList"/>
    <dgm:cxn modelId="{63A84191-4169-45E1-9360-A4E5B73B36A3}" type="presOf" srcId="{2AB3197D-3839-4BA2-A797-8FE2069BC1A3}" destId="{56149493-6F81-4646-A1F4-6363391C9DB6}" srcOrd="0" destOrd="0" presId="urn:microsoft.com/office/officeart/2018/2/layout/IconCircleList"/>
    <dgm:cxn modelId="{D6CDEABF-D4D6-442A-BFBE-60882F6BBD97}" type="presOf" srcId="{4F4A099B-3F3B-4D64-B644-8A93D3D2F41B}" destId="{096F9BD3-7F33-45CB-B446-E78EE4310BCE}" srcOrd="0" destOrd="0" presId="urn:microsoft.com/office/officeart/2018/2/layout/IconCircleList"/>
    <dgm:cxn modelId="{A3B03CDB-8999-4E9A-9DED-0FFD8C2E28FA}" type="presOf" srcId="{740381F6-8F65-45E6-834C-2BFFFDA34B52}" destId="{223A61D7-27B3-41FD-916E-BE2BE026F678}" srcOrd="0" destOrd="0" presId="urn:microsoft.com/office/officeart/2018/2/layout/IconCircleList"/>
    <dgm:cxn modelId="{ABBC5DE8-0653-4196-B4E6-9B44ED9A56C1}" srcId="{4F4A099B-3F3B-4D64-B644-8A93D3D2F41B}" destId="{60AA5E28-2DC2-4B5D-8F41-F6333A758590}" srcOrd="0" destOrd="0" parTransId="{95D52A93-C507-49F7-B5AD-A018D3675E6E}" sibTransId="{740381F6-8F65-45E6-834C-2BFFFDA34B52}"/>
    <dgm:cxn modelId="{5EA20514-B194-449C-AC52-828594B3AA22}" type="presParOf" srcId="{096F9BD3-7F33-45CB-B446-E78EE4310BCE}" destId="{F54E6E22-3A5E-4463-AFB2-61ED98D201A7}" srcOrd="0" destOrd="0" presId="urn:microsoft.com/office/officeart/2018/2/layout/IconCircleList"/>
    <dgm:cxn modelId="{201280C0-A64A-4774-9B3A-63452D8D1AC2}" type="presParOf" srcId="{F54E6E22-3A5E-4463-AFB2-61ED98D201A7}" destId="{E1AB4095-DF5E-4992-98A2-5942995E7073}" srcOrd="0" destOrd="0" presId="urn:microsoft.com/office/officeart/2018/2/layout/IconCircleList"/>
    <dgm:cxn modelId="{E2C4EEB6-DF50-4CEA-86CC-5D4A2EAA399B}" type="presParOf" srcId="{E1AB4095-DF5E-4992-98A2-5942995E7073}" destId="{DF4A8D10-EC50-4AB5-AA36-8641C228503D}" srcOrd="0" destOrd="0" presId="urn:microsoft.com/office/officeart/2018/2/layout/IconCircleList"/>
    <dgm:cxn modelId="{C181DD17-2143-45C2-8D2F-5EF8F92225DA}" type="presParOf" srcId="{E1AB4095-DF5E-4992-98A2-5942995E7073}" destId="{79A50BC8-DD6D-455A-84E9-CAC77FC1A1C5}" srcOrd="1" destOrd="0" presId="urn:microsoft.com/office/officeart/2018/2/layout/IconCircleList"/>
    <dgm:cxn modelId="{DD7A3251-3614-44D7-927F-CDA7B7C899B8}" type="presParOf" srcId="{E1AB4095-DF5E-4992-98A2-5942995E7073}" destId="{4148BBF7-0768-4FEC-99FD-1DB593AB1125}" srcOrd="2" destOrd="0" presId="urn:microsoft.com/office/officeart/2018/2/layout/IconCircleList"/>
    <dgm:cxn modelId="{2110BB1C-0E72-443D-B973-8A9B61D6EBAF}" type="presParOf" srcId="{E1AB4095-DF5E-4992-98A2-5942995E7073}" destId="{13F8F3C7-A9EB-4CC0-B17F-94578B3204DE}" srcOrd="3" destOrd="0" presId="urn:microsoft.com/office/officeart/2018/2/layout/IconCircleList"/>
    <dgm:cxn modelId="{0F10742C-ED4F-4C28-ABC0-522862156B6A}" type="presParOf" srcId="{F54E6E22-3A5E-4463-AFB2-61ED98D201A7}" destId="{223A61D7-27B3-41FD-916E-BE2BE026F678}" srcOrd="1" destOrd="0" presId="urn:microsoft.com/office/officeart/2018/2/layout/IconCircleList"/>
    <dgm:cxn modelId="{242FABB3-8EEC-40DE-B97C-336059CA210C}" type="presParOf" srcId="{F54E6E22-3A5E-4463-AFB2-61ED98D201A7}" destId="{934EFC36-7224-41C5-AD4F-0CAB4BC10557}" srcOrd="2" destOrd="0" presId="urn:microsoft.com/office/officeart/2018/2/layout/IconCircleList"/>
    <dgm:cxn modelId="{34788985-D4CD-4054-A8FA-FFE55986A13B}" type="presParOf" srcId="{934EFC36-7224-41C5-AD4F-0CAB4BC10557}" destId="{65AB2DA9-120A-4C91-8EAD-3AA77E040AB4}" srcOrd="0" destOrd="0" presId="urn:microsoft.com/office/officeart/2018/2/layout/IconCircleList"/>
    <dgm:cxn modelId="{83431482-698E-41FB-B926-CBF21461722C}" type="presParOf" srcId="{934EFC36-7224-41C5-AD4F-0CAB4BC10557}" destId="{6C4C39E3-A30E-4C95-A570-879E2759E563}" srcOrd="1" destOrd="0" presId="urn:microsoft.com/office/officeart/2018/2/layout/IconCircleList"/>
    <dgm:cxn modelId="{2DF0AA4E-CFF6-416A-90C8-4289CE6FC7A5}" type="presParOf" srcId="{934EFC36-7224-41C5-AD4F-0CAB4BC10557}" destId="{F494E221-DD2D-446B-85C0-D033EAFCBFDC}" srcOrd="2" destOrd="0" presId="urn:microsoft.com/office/officeart/2018/2/layout/IconCircleList"/>
    <dgm:cxn modelId="{0C77A399-459F-4835-8889-2F96E9A8FF6A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AA5E28-2DC2-4B5D-8F41-F6333A75859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0">
              <a:latin typeface="Arial" panose="020B0604020202020204" pitchFamily="34" charset="0"/>
              <a:cs typeface="Arial" panose="020B0604020202020204" pitchFamily="34" charset="0"/>
            </a:rPr>
            <a:t>You will join the meeting with video and microphone off</a:t>
          </a:r>
        </a:p>
      </dgm:t>
    </dgm:pt>
    <dgm:pt modelId="{95D52A93-C507-49F7-B5AD-A018D3675E6E}" type="parTrans" cxnId="{ABBC5DE8-0653-4196-B4E6-9B44ED9A56C1}">
      <dgm:prSet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0381F6-8F65-45E6-834C-2BFFFDA34B52}" type="sibTrans" cxnId="{ABBC5DE8-0653-4196-B4E6-9B44ED9A56C1}">
      <dgm:prSet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0">
              <a:latin typeface="Arial" panose="020B0604020202020204" pitchFamily="34" charset="0"/>
              <a:cs typeface="Arial" panose="020B0604020202020204" pitchFamily="34" charset="0"/>
            </a:rPr>
            <a:t>You can type written questions or comments in the Zoom Q&amp;A Panel</a:t>
          </a:r>
        </a:p>
      </dgm:t>
    </dgm:pt>
    <dgm:pt modelId="{7F0419C9-5227-4483-9FFF-F50F7AABB817}" type="parTrans" cxnId="{5EDC1C40-6C83-4D53-8A9C-80BCAF69E48F}">
      <dgm:prSet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6BC1EE2-6297-4F68-9F23-E980040404AF}" type="sibTrans" cxnId="{5EDC1C40-6C83-4D53-8A9C-80BCAF69E48F}">
      <dgm:prSet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5EDC1C40-6C83-4D53-8A9C-80BCAF69E48F}" srcId="{4F4A099B-3F3B-4D64-B644-8A93D3D2F41B}" destId="{2AB3197D-3839-4BA2-A797-8FE2069BC1A3}" srcOrd="1" destOrd="0" parTransId="{7F0419C9-5227-4483-9FFF-F50F7AABB817}" sibTransId="{C6BC1EE2-6297-4F68-9F23-E980040404AF}"/>
    <dgm:cxn modelId="{B73F746E-0C95-4373-8018-C6F6CF512BC3}" type="presOf" srcId="{60AA5E28-2DC2-4B5D-8F41-F6333A758590}" destId="{13F8F3C7-A9EB-4CC0-B17F-94578B3204DE}" srcOrd="0" destOrd="0" presId="urn:microsoft.com/office/officeart/2018/2/layout/IconCircleList"/>
    <dgm:cxn modelId="{63A84191-4169-45E1-9360-A4E5B73B36A3}" type="presOf" srcId="{2AB3197D-3839-4BA2-A797-8FE2069BC1A3}" destId="{56149493-6F81-4646-A1F4-6363391C9DB6}" srcOrd="0" destOrd="0" presId="urn:microsoft.com/office/officeart/2018/2/layout/IconCircleList"/>
    <dgm:cxn modelId="{D6CDEABF-D4D6-442A-BFBE-60882F6BBD97}" type="presOf" srcId="{4F4A099B-3F3B-4D64-B644-8A93D3D2F41B}" destId="{096F9BD3-7F33-45CB-B446-E78EE4310BCE}" srcOrd="0" destOrd="0" presId="urn:microsoft.com/office/officeart/2018/2/layout/IconCircleList"/>
    <dgm:cxn modelId="{A3B03CDB-8999-4E9A-9DED-0FFD8C2E28FA}" type="presOf" srcId="{740381F6-8F65-45E6-834C-2BFFFDA34B52}" destId="{223A61D7-27B3-41FD-916E-BE2BE026F678}" srcOrd="0" destOrd="0" presId="urn:microsoft.com/office/officeart/2018/2/layout/IconCircleList"/>
    <dgm:cxn modelId="{ABBC5DE8-0653-4196-B4E6-9B44ED9A56C1}" srcId="{4F4A099B-3F3B-4D64-B644-8A93D3D2F41B}" destId="{60AA5E28-2DC2-4B5D-8F41-F6333A758590}" srcOrd="0" destOrd="0" parTransId="{95D52A93-C507-49F7-B5AD-A018D3675E6E}" sibTransId="{740381F6-8F65-45E6-834C-2BFFFDA34B52}"/>
    <dgm:cxn modelId="{5EA20514-B194-449C-AC52-828594B3AA22}" type="presParOf" srcId="{096F9BD3-7F33-45CB-B446-E78EE4310BCE}" destId="{F54E6E22-3A5E-4463-AFB2-61ED98D201A7}" srcOrd="0" destOrd="0" presId="urn:microsoft.com/office/officeart/2018/2/layout/IconCircleList"/>
    <dgm:cxn modelId="{201280C0-A64A-4774-9B3A-63452D8D1AC2}" type="presParOf" srcId="{F54E6E22-3A5E-4463-AFB2-61ED98D201A7}" destId="{E1AB4095-DF5E-4992-98A2-5942995E7073}" srcOrd="0" destOrd="0" presId="urn:microsoft.com/office/officeart/2018/2/layout/IconCircleList"/>
    <dgm:cxn modelId="{E2C4EEB6-DF50-4CEA-86CC-5D4A2EAA399B}" type="presParOf" srcId="{E1AB4095-DF5E-4992-98A2-5942995E7073}" destId="{DF4A8D10-EC50-4AB5-AA36-8641C228503D}" srcOrd="0" destOrd="0" presId="urn:microsoft.com/office/officeart/2018/2/layout/IconCircleList"/>
    <dgm:cxn modelId="{C181DD17-2143-45C2-8D2F-5EF8F92225DA}" type="presParOf" srcId="{E1AB4095-DF5E-4992-98A2-5942995E7073}" destId="{79A50BC8-DD6D-455A-84E9-CAC77FC1A1C5}" srcOrd="1" destOrd="0" presId="urn:microsoft.com/office/officeart/2018/2/layout/IconCircleList"/>
    <dgm:cxn modelId="{DD7A3251-3614-44D7-927F-CDA7B7C899B8}" type="presParOf" srcId="{E1AB4095-DF5E-4992-98A2-5942995E7073}" destId="{4148BBF7-0768-4FEC-99FD-1DB593AB1125}" srcOrd="2" destOrd="0" presId="urn:microsoft.com/office/officeart/2018/2/layout/IconCircleList"/>
    <dgm:cxn modelId="{2110BB1C-0E72-443D-B973-8A9B61D6EBAF}" type="presParOf" srcId="{E1AB4095-DF5E-4992-98A2-5942995E7073}" destId="{13F8F3C7-A9EB-4CC0-B17F-94578B3204DE}" srcOrd="3" destOrd="0" presId="urn:microsoft.com/office/officeart/2018/2/layout/IconCircleList"/>
    <dgm:cxn modelId="{0F10742C-ED4F-4C28-ABC0-522862156B6A}" type="presParOf" srcId="{F54E6E22-3A5E-4463-AFB2-61ED98D201A7}" destId="{223A61D7-27B3-41FD-916E-BE2BE026F678}" srcOrd="1" destOrd="0" presId="urn:microsoft.com/office/officeart/2018/2/layout/IconCircleList"/>
    <dgm:cxn modelId="{242FABB3-8EEC-40DE-B97C-336059CA210C}" type="presParOf" srcId="{F54E6E22-3A5E-4463-AFB2-61ED98D201A7}" destId="{934EFC36-7224-41C5-AD4F-0CAB4BC10557}" srcOrd="2" destOrd="0" presId="urn:microsoft.com/office/officeart/2018/2/layout/IconCircleList"/>
    <dgm:cxn modelId="{34788985-D4CD-4054-A8FA-FFE55986A13B}" type="presParOf" srcId="{934EFC36-7224-41C5-AD4F-0CAB4BC10557}" destId="{65AB2DA9-120A-4C91-8EAD-3AA77E040AB4}" srcOrd="0" destOrd="0" presId="urn:microsoft.com/office/officeart/2018/2/layout/IconCircleList"/>
    <dgm:cxn modelId="{83431482-698E-41FB-B926-CBF21461722C}" type="presParOf" srcId="{934EFC36-7224-41C5-AD4F-0CAB4BC10557}" destId="{6C4C39E3-A30E-4C95-A570-879E2759E563}" srcOrd="1" destOrd="0" presId="urn:microsoft.com/office/officeart/2018/2/layout/IconCircleList"/>
    <dgm:cxn modelId="{2DF0AA4E-CFF6-416A-90C8-4289CE6FC7A5}" type="presParOf" srcId="{934EFC36-7224-41C5-AD4F-0CAB4BC10557}" destId="{F494E221-DD2D-446B-85C0-D033EAFCBFDC}" srcOrd="2" destOrd="0" presId="urn:microsoft.com/office/officeart/2018/2/layout/IconCircleList"/>
    <dgm:cxn modelId="{0C77A399-459F-4835-8889-2F96E9A8FF6A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>
              <a:latin typeface="Arial" panose="020B0604020202020204" pitchFamily="34" charset="0"/>
              <a:cs typeface="Arial" panose="020B0604020202020204" pitchFamily="34" charset="0"/>
            </a:rPr>
            <a:t>You will join the meeting with video and microphone off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>
              <a:latin typeface="Arial" panose="020B0604020202020204" pitchFamily="34" charset="0"/>
              <a:cs typeface="Arial" panose="020B0604020202020204" pitchFamily="34" charset="0"/>
            </a:rPr>
            <a:t>You can type written questions or comments in the Zoom Q&amp;A Panel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>
              <a:latin typeface="Arial" panose="020B0604020202020204" pitchFamily="34" charset="0"/>
              <a:cs typeface="Arial" panose="020B0604020202020204" pitchFamily="34" charset="0"/>
            </a:rPr>
            <a:t>You will join the meeting with video and microphone off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>
              <a:latin typeface="Arial" panose="020B0604020202020204" pitchFamily="34" charset="0"/>
              <a:cs typeface="Arial" panose="020B0604020202020204" pitchFamily="34" charset="0"/>
            </a:rPr>
            <a:t>You can type written questions or comments in the Zoom Q&amp;A Panel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Community Development Department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ssil Fuel Free Building Demonstration Program - Over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/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r>
              <a:rPr lang="en-US" sz="2800" b="1">
                <a:solidFill>
                  <a:srgbClr val="1269A2"/>
                </a:solidFill>
                <a:latin typeface="Calibri" panose="020F0502020204030204" pitchFamily="34" charset="0"/>
              </a:rPr>
              <a:t>The Net Zero Action Plan has actions to address emissions from existing and new building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4"/>
            <a:ext cx="5368391" cy="3662541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/>
              <a:t>Action 2.1 </a:t>
            </a:r>
            <a:r>
              <a:rPr lang="en-US" sz="2400"/>
              <a:t>calls for new buildings to be net zero from the start, including:</a:t>
            </a:r>
            <a:br>
              <a:rPr lang="en-US" sz="2400"/>
            </a:br>
            <a:endParaRPr lang="en-US" sz="2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Cambridge should advocate for state net zero codes, since Massachusetts sets building c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dopt the code as soon as the state makes it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Eliminate pathways for fossil fuel use in new construction – it’s the best opportunity for full building electr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Monitor outcome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Massachusetts has identified policies and programs to get to net zero by 205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4"/>
            <a:ext cx="6323077" cy="4771843"/>
          </a:xfrm>
        </p:spPr>
        <p:txBody>
          <a:bodyPr>
            <a:normAutofit fontScale="92500"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From the state Decarbonization Roadmap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“New construction offers the easiest and most economically attractive way to start decarbonizing the buildings sector…” 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“Almost all new buildings can cost-effectively pursue an efficient electric design that increases occupant comfort and pays for itself...”</a:t>
            </a:r>
          </a:p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Massachusetts created the Specialized Stretch Code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Sets high performance standards, but still allows new buildings to be built with fossil fuels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Adopted by Cambridge in January 2023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Meeting our climate targets means phasing out fossil fuels in new constr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rmAutofit/>
          </a:bodyPr>
          <a:lstStyle/>
          <a:p>
            <a:pPr marL="0" lvl="1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is means that new buildings are built without fossil fuel systems like gas furnaces or gas-fired water heaters.</a:t>
            </a:r>
          </a:p>
          <a:p>
            <a:pPr marL="342900" lvl="1" indent="-342900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Applies to gas, oil, and other fossil fuel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Several other cities and states with climate commitments have passed ‘no new gas’ requirements for new buildings.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426464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Builders are required to install clean, all-electric systems instead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Fossil fuel free means that new buildings need to be built using systems like heat pumps and heat pump water heaters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clean air and indoor air quality benefits are well-documented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is also prevents developers of new buildings from installing new gas infrastructure that would have to be removed later on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Background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Cambridge actions to address climate change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New regulation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Massachusetts Fossil Fuel Free Demonstration Program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Proposed requirements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Eliminate use of fossil fuels in new buildings and major renovations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imeline and next steps for adopting regulation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Questions &amp; answer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515600" cy="1049082"/>
          </a:xfrm>
        </p:spPr>
        <p:txBody>
          <a:bodyPr>
            <a:noAutofit/>
          </a:bodyPr>
          <a:lstStyle/>
          <a:p>
            <a:r>
              <a:rPr lang="en-US" sz="3600" b="1">
                <a:solidFill>
                  <a:srgbClr val="1269A2"/>
                </a:solidFill>
                <a:latin typeface="Calibri" panose="020F0502020204030204" pitchFamily="34" charset="0"/>
              </a:rPr>
              <a:t>Massachusetts Has Created a Fossil Fuel Free Demonstration Pro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2093"/>
            <a:ext cx="10744203" cy="4227775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Massachusetts Legislature has authorized 10 communities to implement </a:t>
            </a:r>
            <a:r>
              <a:rPr lang="en-US" b="1">
                <a:solidFill>
                  <a:schemeClr val="tx2"/>
                </a:solidFill>
                <a:latin typeface="Calibri" panose="020F0502020204030204" pitchFamily="34" charset="0"/>
              </a:rPr>
              <a:t>fossil-fuel free requirements </a:t>
            </a: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for new construction and major renovation.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Part of an </a:t>
            </a:r>
            <a:r>
              <a:rPr lang="en-US" i="1">
                <a:solidFill>
                  <a:schemeClr val="tx2"/>
                </a:solidFill>
                <a:latin typeface="Calibri" panose="020F0502020204030204" pitchFamily="34" charset="0"/>
              </a:rPr>
              <a:t>Act Driving Clean Energy and Offshore Wind </a:t>
            </a: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(2022)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Massachusetts Department of Energy Resources has developed regulations and a suggested ordinance (‘model rule’).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provided input to DOER in developing the regulations this winter.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Final regulations were sent to Legislature in May.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rmAutofit fontScale="90000"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Cambridge has been allowed to participate in the Massachusetts demonstration pro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7067"/>
            <a:ext cx="5059063" cy="4112801"/>
          </a:xfrm>
        </p:spPr>
        <p:txBody>
          <a:bodyPr>
            <a:normAutofit fontScale="85000" lnSpcReduction="10000"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submitted a home rule petition requesting this authority in April 2022, so we are a Prioritized Community.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A city or town must meet 10% affordable housing requirement or MBTA Communities Multifamily Zoning</a:t>
            </a:r>
          </a:p>
          <a:p>
            <a:pPr>
              <a:spcBef>
                <a:spcPts val="18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If a Prioritized Community drops out, DOER may select a substitute community. Somerville and Boston have both voted to move home rule petitions forward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tx2"/>
                </a:solidFill>
              </a:rPr>
              <a:t>= City/Town has voted to adopt fossil fuel free requirements</a:t>
            </a:r>
          </a:p>
          <a:p>
            <a:r>
              <a:rPr lang="en-US" sz="2400">
                <a:solidFill>
                  <a:schemeClr val="tx2"/>
                </a:solidFill>
              </a:rPr>
              <a:t>(as of July 10, 2023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Background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Cambridge actions to address climate change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New regulation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he Massachusetts Fossil Fuel Free Demonstration Program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Proposed requirements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Eliminate use of fossil fuels in new buildings and major renovations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imeline and next steps for adopting regulation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Questions &amp; answer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The Demonstration Program requires new buildings and major renovations to be fossil fuel fr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05433"/>
            <a:ext cx="6627878" cy="4344435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New buildings are covered by Fossil Fuel Free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Major renovations are covered and defined in the state regulation (commonly 50% or more of a building’s floor area)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i="1">
                <a:solidFill>
                  <a:schemeClr val="tx2"/>
                </a:solidFill>
                <a:latin typeface="Calibri" panose="020F0502020204030204" pitchFamily="34" charset="0"/>
              </a:rPr>
              <a:t>Exempted per state regulation: hospitals, medical offices, and laboratories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949184" y="1713821"/>
            <a:ext cx="3779520" cy="4278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u="sng"/>
              <a:t>Specific definition of Major Renovation includes</a:t>
            </a:r>
            <a:r>
              <a:rPr lang="en-US" sz="160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For 1-2 family homes, townhous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renovation of 50% of the building, if over 1,000 square fe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addition of 1,000 square feet, or doubling the existing build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change of use of 1,000 square f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For all other building typ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renovation of 50% of the building floor area, if more than 20,000 square fe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addition of 20,000 square feet or doubling the existing build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/>
              <a:t>change of use of 20,000 square feet or the whole build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The Fossil Fuel-Free Demonstration Program has a suggested or “model” ordin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rmAutofit fontScale="85000" lnSpcReduction="20000"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u="sng">
                <a:solidFill>
                  <a:schemeClr val="tx2"/>
                </a:solidFill>
                <a:latin typeface="Calibri" panose="020F0502020204030204" pitchFamily="34" charset="0"/>
              </a:rPr>
              <a:t>What the model ordinance covers</a:t>
            </a:r>
            <a:br>
              <a:rPr lang="en-US" u="sng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A building cannot use coal, oil, natural gas, or other fossil fuels in its operation</a:t>
            </a:r>
          </a:p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is is generally understood to include heating, hot water systems, lighting, cooking, and clothes drying, and potentially commercial process loads (e.g., restaurants, dry cleaners)</a:t>
            </a:r>
          </a:p>
          <a:p>
            <a:pPr lvl="1">
              <a:spcBef>
                <a:spcPts val="600"/>
              </a:spcBef>
            </a:pPr>
            <a:r>
              <a:rPr lang="en-US" sz="2600" b="1" i="1">
                <a:solidFill>
                  <a:schemeClr val="tx2"/>
                </a:solidFill>
                <a:latin typeface="Calibri" panose="020F0502020204030204" pitchFamily="34" charset="0"/>
              </a:rPr>
              <a:t>A city or town may propose limited exemptions or changes to model ordinance with justification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model ordinance is based on the new “Specialized” building code (which Cambridge has adopted) and basically eliminates options that allow for fossil fuel use, with two clarifications:</a:t>
            </a:r>
          </a:p>
          <a:p>
            <a:pPr lvl="1">
              <a:spcBef>
                <a:spcPts val="1200"/>
              </a:spcBef>
            </a:pPr>
            <a:r>
              <a:rPr lang="en-US" sz="2600">
                <a:solidFill>
                  <a:schemeClr val="tx2"/>
                </a:solidFill>
                <a:latin typeface="Calibri" panose="020F0502020204030204" pitchFamily="34" charset="0"/>
              </a:rPr>
              <a:t>It allows gas or propane use for multifamily water heating until 2027</a:t>
            </a:r>
          </a:p>
          <a:p>
            <a:pPr lvl="1">
              <a:spcBef>
                <a:spcPts val="1200"/>
              </a:spcBef>
            </a:pPr>
            <a:r>
              <a:rPr lang="en-US" sz="2600">
                <a:solidFill>
                  <a:schemeClr val="tx2"/>
                </a:solidFill>
                <a:latin typeface="Calibri" panose="020F0502020204030204" pitchFamily="34" charset="0"/>
              </a:rPr>
              <a:t>It spells out that major renovations cannot install </a:t>
            </a:r>
            <a:r>
              <a:rPr lang="en-US" sz="2600" u="sng">
                <a:solidFill>
                  <a:schemeClr val="tx2"/>
                </a:solidFill>
                <a:latin typeface="Calibri" panose="020F0502020204030204" pitchFamily="34" charset="0"/>
              </a:rPr>
              <a:t>new</a:t>
            </a:r>
            <a:r>
              <a:rPr lang="en-US" sz="2600">
                <a:solidFill>
                  <a:schemeClr val="tx2"/>
                </a:solidFill>
                <a:latin typeface="Calibri" panose="020F0502020204030204" pitchFamily="34" charset="0"/>
              </a:rPr>
              <a:t> fossil fuel equipment for heating, hot water, cooking, etc.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Welcom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515836" cy="3053251"/>
          </a:xfrm>
        </p:spPr>
        <p:txBody>
          <a:bodyPr>
            <a:normAutofit fontScale="92500"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Susanne Rasmussen, Director of Environmental and Transportation Planning</a:t>
            </a:r>
            <a:b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Nikhil Nadkarni, Energy Project Planner</a:t>
            </a:r>
            <a:b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Jennifer Ballew, Sustainability Project Planner</a:t>
            </a:r>
            <a:b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Brad Pillen, Energy Engagement Associate Plann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his meeting is being </a:t>
            </a:r>
            <a:r>
              <a:rPr kumimoji="0" lang="en-US" sz="320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recorded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The state will be conducting an evaluation of outc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ities and towns are required to provide building permit records to DOER, including any energy score reports. </a:t>
            </a:r>
          </a:p>
          <a:p>
            <a:pPr marL="0" indent="0">
              <a:spcBef>
                <a:spcPts val="12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DOER will access energy use from the utilities and report on emissions reductions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Background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Cambridge actions to address climate change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New regulation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he Massachusetts Fossil Fuel Free Demonstration Program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Proposed requirements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Eliminate use of fossil fuels in new buildings and major renovations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imeline and next steps for adopting regulation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Questions &amp; answer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Timeline for Prioritized Commun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must submit its final application (including proposed ordinance and date effective) to DOER by </a:t>
            </a:r>
            <a:r>
              <a:rPr lang="en-US" b="1">
                <a:solidFill>
                  <a:schemeClr val="tx2"/>
                </a:solidFill>
                <a:latin typeface="Calibri" panose="020F0502020204030204" pitchFamily="34" charset="0"/>
              </a:rPr>
              <a:t>September 1, 2023</a:t>
            </a: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.</a:t>
            </a:r>
          </a:p>
          <a:p>
            <a:pPr lvl="1">
              <a:spcBef>
                <a:spcPts val="12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Failure to do so will result in elimination from the program</a:t>
            </a:r>
          </a:p>
          <a:p>
            <a:pPr lvl="1">
              <a:spcBef>
                <a:spcPts val="12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Municipalities can submit their applications earlier to DOER for feedback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r>
              <a:rPr lang="en-US" sz="3600" b="1">
                <a:solidFill>
                  <a:srgbClr val="1269A2"/>
                </a:solidFill>
                <a:latin typeface="Calibri" panose="020F0502020204030204" pitchFamily="34" charset="0"/>
              </a:rPr>
              <a:t>We’re sharing information about the program with Cambridge residents and building ow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rmAutofit/>
          </a:bodyPr>
          <a:lstStyle/>
          <a:p>
            <a:pPr marL="228600" lvl="1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Information presented at this webinar and a webinar on July 24</a:t>
            </a:r>
            <a:r>
              <a:rPr lang="en-US" baseline="30000" dirty="0">
                <a:solidFill>
                  <a:schemeClr val="tx2"/>
                </a:solidFill>
                <a:latin typeface="Calibri" panose="020F0502020204030204" pitchFamily="34" charset="0"/>
              </a:rPr>
              <a:t>th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Engaging with building professionals at this week’s Specialized Code webinars</a:t>
            </a:r>
          </a:p>
          <a:p>
            <a:pPr marL="685800" lvl="2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Tuesday July 11 at 4pm: Commercial Specialized Code</a:t>
            </a:r>
          </a:p>
          <a:p>
            <a:pPr marL="685800" lvl="2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Wednesday July 12 at 4pm: Residential Specialized Code</a:t>
            </a:r>
          </a:p>
          <a:p>
            <a:pPr marL="228600" lvl="1">
              <a:spcBef>
                <a:spcPts val="1200"/>
              </a:spcBef>
            </a:pPr>
            <a:r>
              <a:rPr lang="en-US" dirty="0" err="1">
                <a:solidFill>
                  <a:schemeClr val="tx2"/>
                </a:solidFill>
                <a:latin typeface="Calibri" panose="020F0502020204030204" pitchFamily="34" charset="0"/>
              </a:rPr>
              <a:t>Flyering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 at community spaces throughout Cambridge</a:t>
            </a:r>
          </a:p>
          <a:p>
            <a:pPr marL="228600" lvl="1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News items and online info</a:t>
            </a:r>
          </a:p>
          <a:p>
            <a:pPr marL="228600" lvl="1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Outreach to resident associations and business associations</a:t>
            </a:r>
          </a:p>
          <a:p>
            <a:pPr marL="228600" lvl="1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Information to large building owners and building professionals working in Cambridg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r>
              <a:rPr lang="en-US" sz="3600" b="1">
                <a:solidFill>
                  <a:srgbClr val="1269A2"/>
                </a:solidFill>
                <a:latin typeface="Calibri" panose="020F0502020204030204" pitchFamily="34" charset="0"/>
              </a:rPr>
              <a:t>We want your feedback on how new buildings and major renovations in Cambridge can be fossil fuel fr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4"/>
            <a:ext cx="10744203" cy="4113804"/>
          </a:xfr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In addition to getting feedback at the webinars, an online survey has been launched to gather input from Cambridge residents and building owners, covering:</a:t>
            </a:r>
          </a:p>
          <a:p>
            <a:pPr>
              <a:spcBef>
                <a:spcPts val="1200"/>
              </a:spcBef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Specific types of buildings that we should focus our research on</a:t>
            </a:r>
          </a:p>
          <a:p>
            <a:pPr>
              <a:spcBef>
                <a:spcPts val="1200"/>
              </a:spcBef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Specific uses or building systems that we should further research</a:t>
            </a:r>
          </a:p>
          <a:p>
            <a:pPr>
              <a:spcBef>
                <a:spcPts val="1200"/>
              </a:spcBef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How major renovations can be fossil fuel free</a:t>
            </a:r>
          </a:p>
          <a:p>
            <a:pPr>
              <a:spcBef>
                <a:spcPts val="1200"/>
              </a:spcBef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Other topics that we should research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Survey responses are due by July 17</a:t>
            </a:r>
            <a:r>
              <a:rPr lang="en-US" sz="2400" b="1" baseline="30000">
                <a:solidFill>
                  <a:schemeClr val="tx2"/>
                </a:solidFill>
                <a:latin typeface="Calibri" panose="020F0502020204030204" pitchFamily="34" charset="0"/>
              </a:rPr>
              <a:t>th</a:t>
            </a:r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 to be incorporated into the research work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400">
                <a:hlinkClick r:id="rId2"/>
              </a:rPr>
              <a:t>https://</a:t>
            </a:r>
            <a:r>
              <a:rPr lang="en-US" sz="2400" b="1">
                <a:hlinkClick r:id="rId2"/>
              </a:rPr>
              <a:t>bit.ly/FFFupdates</a:t>
            </a:r>
            <a:endParaRPr lang="en-US" sz="2400" b="1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Next Steps for Cambri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We are working with a research consultant to explore if any changes to the model rule are appropriate, by doing the following:</a:t>
            </a:r>
          </a:p>
          <a:p>
            <a:pPr lvl="1">
              <a:spcBef>
                <a:spcPts val="1200"/>
              </a:spcBef>
            </a:pPr>
            <a:r>
              <a:rPr lang="en-US" sz="2200">
                <a:solidFill>
                  <a:schemeClr val="tx2"/>
                </a:solidFill>
                <a:latin typeface="Calibri" panose="020F0502020204030204" pitchFamily="34" charset="0"/>
              </a:rPr>
              <a:t>Examining the types of buildings that are built or renovated in Cambridge</a:t>
            </a:r>
          </a:p>
          <a:p>
            <a:pPr lvl="1">
              <a:spcBef>
                <a:spcPts val="1200"/>
              </a:spcBef>
            </a:pPr>
            <a:r>
              <a:rPr lang="en-US" sz="2200">
                <a:solidFill>
                  <a:schemeClr val="tx2"/>
                </a:solidFill>
                <a:latin typeface="Calibri" panose="020F0502020204030204" pitchFamily="34" charset="0"/>
              </a:rPr>
              <a:t>Understanding any technical limitations to all-electric equipment for specific building types or end-uses</a:t>
            </a:r>
          </a:p>
          <a:p>
            <a:pPr lvl="1">
              <a:spcBef>
                <a:spcPts val="1200"/>
              </a:spcBef>
            </a:pPr>
            <a:r>
              <a:rPr lang="en-US" sz="2200">
                <a:solidFill>
                  <a:schemeClr val="tx2"/>
                </a:solidFill>
                <a:latin typeface="Calibri" panose="020F0502020204030204" pitchFamily="34" charset="0"/>
              </a:rPr>
              <a:t>Reviewing how the requirements would affect process loads in Cambridge</a:t>
            </a:r>
          </a:p>
          <a:p>
            <a:pPr lvl="1">
              <a:spcBef>
                <a:spcPts val="1200"/>
              </a:spcBef>
            </a:pPr>
            <a:r>
              <a:rPr lang="en-US" sz="2200">
                <a:solidFill>
                  <a:schemeClr val="tx2"/>
                </a:solidFill>
                <a:latin typeface="Calibri" panose="020F0502020204030204" pitchFamily="34" charset="0"/>
              </a:rPr>
              <a:t>Reviewing input received from the survey to include in the research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40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The City Council will discuss proposed ordinance language at the </a:t>
            </a:r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August 1 Ordinance Committee meeting </a:t>
            </a: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and</a:t>
            </a:r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vote on </a:t>
            </a:r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final language on August 7</a:t>
            </a:r>
            <a:r>
              <a:rPr lang="en-US" sz="2400">
                <a:solidFill>
                  <a:schemeClr val="tx2"/>
                </a:solidFill>
                <a:latin typeface="Calibri" panose="020F0502020204030204" pitchFamily="34" charset="0"/>
              </a:rPr>
              <a:t>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Questions and Answ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517241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ottom Panel of Zoom Scre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726" r="48292"/>
          <a:stretch/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sk a Question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For 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Visit our webpage at </a:t>
            </a:r>
            <a:r>
              <a:rPr lang="en-US">
                <a:hlinkClick r:id="rId2"/>
              </a:rPr>
              <a:t>https://</a:t>
            </a:r>
            <a:r>
              <a:rPr lang="en-US" b="1">
                <a:hlinkClick r:id="rId2"/>
              </a:rPr>
              <a:t>bit.ly/FFFupdates</a:t>
            </a:r>
            <a:endParaRPr lang="en-US" b="1"/>
          </a:p>
          <a:p>
            <a:r>
              <a:rPr lang="en-US"/>
              <a:t>Complete the survey by July 17</a:t>
            </a:r>
            <a:r>
              <a:rPr lang="en-US" baseline="30000"/>
              <a:t>th</a:t>
            </a:r>
            <a:endParaRPr lang="en-US"/>
          </a:p>
          <a:p>
            <a:r>
              <a:rPr lang="en-US"/>
              <a:t>July 24 webinar</a:t>
            </a:r>
          </a:p>
          <a:p>
            <a:r>
              <a:rPr lang="en-US"/>
              <a:t>Contact Brad at bpillen@cambridgema.gov</a:t>
            </a: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Thank You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997150"/>
            <a:ext cx="10515600" cy="1049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Instructions for asking a question or making a comment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436672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69A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ottom Panel of Zoom Screen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AEABA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AEABA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uly 2023	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AEABA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8726" r="48292"/>
          <a:stretch/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sk a Ques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>
            <a:spLocks/>
          </p:cNvSpPr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We’ll be answering questions after the presentation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>
                <a:solidFill>
                  <a:schemeClr val="tx1"/>
                </a:solidFill>
              </a:rPr>
              <a:t>For technical issues, please email: jballew@cambridgema.gov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Background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actions to address climate change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New regulation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Massachusetts Fossil Fuel Free Demonstration Program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Proposed requirements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Eliminate use of fossil fuels in new buildings and major renovations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imeline and next steps for adopting regulation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Questions &amp; answer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Background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actions to address climate change</a:t>
            </a:r>
            <a:b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New regulation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he Massachusetts Fossil Fuel Free Demonstration Program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Proposed requirements:</a:t>
            </a:r>
          </a:p>
          <a:p>
            <a:pPr lvl="1">
              <a:spcBef>
                <a:spcPts val="600"/>
              </a:spcBef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Eliminate use of fossil fuels in new buildings and major renovations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Timeline and next steps for adopting regulation</a:t>
            </a:r>
            <a:b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t>Questions &amp; answer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rmAutofit fontScale="90000"/>
          </a:bodyPr>
          <a:lstStyle/>
          <a:p>
            <a:r>
              <a:rPr lang="en-US" b="1">
                <a:solidFill>
                  <a:srgbClr val="1269A2"/>
                </a:solidFill>
                <a:latin typeface="Calibri" panose="020F0502020204030204" pitchFamily="34" charset="0"/>
              </a:rPr>
              <a:t>Cambridge has long been committed to taking action on climate chan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4692637" cy="3920561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is taking action both to:</a:t>
            </a:r>
          </a:p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bring our greenhouse gas emissions to zero by 2050</a:t>
            </a:r>
          </a:p>
          <a:p>
            <a:pPr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prepare for climate impacts  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Cambridge is part of a larger coalition of cities in the Boston area that has committed to meeting the 2050 target.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Buildings produce the most greenhouse gas (GHG) emissions in Cambrid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238245" cy="4065037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Building emissions come from onsite fossil fuel use (gas, oil, etc.) and from electricity use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Electricity is getting cleaner each year and is expected to be mostly renewable by 2030.</a:t>
            </a:r>
          </a:p>
        </p:txBody>
      </p:sp>
      <p:graphicFrame>
        <p:nvGraphicFramePr>
          <p:cNvPr id="3" name="Chart 2" descr="83% of GHG emissions in Cambridge come from buildings&#10;">
            <a:extLst>
              <a:ext uri="{FF2B5EF4-FFF2-40B4-BE49-F238E27FC236}">
                <a16:creationId xmlns:a16="http://schemas.microsoft.com/office/drawing/2014/main" id="{4D729383-A3E2-ABBC-94AE-375541A950E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089088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A3CAE5F-14A0-4A7B-95B2-4B7B890A9459}" type="datetime'''''''''Bu''''''''il''''d''i''''''''''''''''''''''''''ngs'">
              <a:rPr lang="en-US" altLang="en-US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uildings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65EC9B-CE62-4A44-B4E6-0CCB64DD7459}" type="datetime'''''''''T''''''''ra''n''''sp''''o''r''''t''''a''''t''''ion'''">
              <a:rPr lang="en-US" altLang="en-US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ransportation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DE6A22D-6731-4231-B820-601A8A901210}" type="datetime'''''''''''''W''''''a''''''''''''''''''''''s''''''''te'''''''''">
              <a:rPr lang="en-US" altLang="en-US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aste</a:t>
            </a:fld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515600" cy="1049082"/>
          </a:xfrm>
        </p:spPr>
        <p:txBody>
          <a:bodyPr>
            <a:noAutofit/>
          </a:bodyPr>
          <a:lstStyle/>
          <a:p>
            <a:r>
              <a:rPr lang="en-US" sz="3200" b="1">
                <a:solidFill>
                  <a:srgbClr val="1269A2"/>
                </a:solidFill>
                <a:latin typeface="Calibri" panose="020F0502020204030204" pitchFamily="34" charset="0"/>
              </a:rPr>
              <a:t>Cambridge has a long-range Net Zero Action Plan to reduce emissions from building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The Net Zero Action Plan was first adopted in 2015 and updated through a community-led process in 2021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It identifies policies and programs to eliminate greenhouse gas emissions from </a:t>
            </a:r>
            <a:r>
              <a:rPr lang="en-US" b="1">
                <a:solidFill>
                  <a:schemeClr val="tx2"/>
                </a:solidFill>
                <a:latin typeface="Calibri" panose="020F0502020204030204" pitchFamily="34" charset="0"/>
              </a:rPr>
              <a:t>buildings</a:t>
            </a:r>
            <a:r>
              <a:rPr lang="en-US">
                <a:solidFill>
                  <a:schemeClr val="tx2"/>
                </a:solidFill>
                <a:latin typeface="Calibri" panose="020F0502020204030204" pitchFamily="34" charset="0"/>
              </a:rPr>
              <a:t> by 2050.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/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r>
              <a:rPr lang="en-US" sz="2800" b="1">
                <a:solidFill>
                  <a:srgbClr val="1269A2"/>
                </a:solidFill>
                <a:latin typeface="Calibri" panose="020F0502020204030204" pitchFamily="34" charset="0"/>
              </a:rPr>
              <a:t>The Net Zero Action Plan has actions to address emissions from both existing and new building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3              </a:t>
            </a:r>
            <a:fld id="{6502A50A-B37B-4069-B760-9762B3BAD01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1269A2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2</TotalTime>
  <Words>2005</Words>
  <Application>Microsoft Office PowerPoint</Application>
  <PresentationFormat>Widescreen</PresentationFormat>
  <Paragraphs>248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Fossil Fuel Free Building Demonstration Program - Overview</vt:lpstr>
      <vt:lpstr>Welcome</vt:lpstr>
      <vt:lpstr>Instructions for asking a question or making a comment</vt:lpstr>
      <vt:lpstr>Agenda</vt:lpstr>
      <vt:lpstr>Agenda</vt:lpstr>
      <vt:lpstr>Cambridge has long been committed to taking action on climate change</vt:lpstr>
      <vt:lpstr>Buildings produce the most greenhouse gas (GHG) emissions in Cambridge</vt:lpstr>
      <vt:lpstr>Cambridge has a long-range Net Zero Action Plan to reduce emissions from buildings</vt:lpstr>
      <vt:lpstr>The Net Zero Action Plan has actions to address emissions from both existing and new buildings</vt:lpstr>
      <vt:lpstr>The Net Zero Action Plan has actions to address emissions from existing and new buildings</vt:lpstr>
      <vt:lpstr>Massachusetts has identified policies and programs to get to net zero by 2050</vt:lpstr>
      <vt:lpstr>Meeting our climate targets means phasing out fossil fuels in new construction</vt:lpstr>
      <vt:lpstr>Builders are required to install clean, all-electric systems instead  </vt:lpstr>
      <vt:lpstr>Agenda</vt:lpstr>
      <vt:lpstr>Massachusetts Has Created a Fossil Fuel Free Demonstration Program</vt:lpstr>
      <vt:lpstr>Cambridge has been allowed to participate in the Massachusetts demonstration program</vt:lpstr>
      <vt:lpstr>Agenda</vt:lpstr>
      <vt:lpstr>The Demonstration Program requires new buildings and major renovations to be fossil fuel free</vt:lpstr>
      <vt:lpstr>The Fossil Fuel-Free Demonstration Program has a suggested or “model” ordinance</vt:lpstr>
      <vt:lpstr>The state will be conducting an evaluation of outcomes</vt:lpstr>
      <vt:lpstr>Agenda</vt:lpstr>
      <vt:lpstr>Timeline for Prioritized Communities</vt:lpstr>
      <vt:lpstr>We’re sharing information about the program with Cambridge residents and building owners</vt:lpstr>
      <vt:lpstr>We want your feedback on how new buildings and major renovations in Cambridge can be fossil fuel free</vt:lpstr>
      <vt:lpstr>Next Steps for Cambridge</vt:lpstr>
      <vt:lpstr>Questions and Answers</vt:lpstr>
      <vt:lpstr>For More Informat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19:4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9CE57B8D5A54AABA9F82446E79BC9</vt:lpwstr>
  </property>
  <property fmtid="{D5CDD505-2E9C-101B-9397-08002B2CF9AE}" pid="3" name="MediaServiceImageTags">
    <vt:lpwstr/>
  </property>
  <property fmtid="{D5CDD505-2E9C-101B-9397-08002B2CF9AE}" pid="4" name="Order">
    <vt:r8>88200</vt:r8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</Properties>
</file>